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8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8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Leave Management System (LMS)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veloped the leave management system application on PowerApps using SharePoint list and created a flow between SharePoint, PowerApps and Gmail using Power Automate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Completed </a:t>
            </a: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Git, GitHub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t the concepts of Git and GitHub, simultaneously applied the concepts for better learning.</a:t>
            </a:r>
          </a:p>
          <a:p>
            <a:pPr algn="just" eaLnBrk="1" hangingPunct="1">
              <a:lnSpc>
                <a:spcPct val="114000"/>
              </a:lnSpc>
            </a:pPr>
            <a:endParaRPr lang="en-I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400" b="1" dirty="0">
                <a:latin typeface="Arial" panose="020B0604020202020204" pitchFamily="34" charset="0"/>
                <a:cs typeface="Arial" panose="020B0604020202020204" pitchFamily="34" charset="0"/>
              </a:rPr>
              <a:t>POWERAPPS DEVELOPER</a:t>
            </a:r>
            <a:endParaRPr lang="en-US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3" y="1574763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rohitkumar-limbraj.mane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6809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7028198719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on development applications of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owerApps using SharePoint &amp; Power Automate.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engineering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2016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PowerApp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harePoi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Power Autom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Core 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Manual Test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 err="1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 err="1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Rohitkumar Limbraj mane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3E98402-4881-4F8D-8B43-08C326EDB03A}"/>
              </a:ext>
            </a:extLst>
          </p:cNvPr>
          <p:cNvSpPr/>
          <p:nvPr/>
        </p:nvSpPr>
        <p:spPr>
          <a:xfrm>
            <a:off x="-672752" y="2780928"/>
            <a:ext cx="72008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765CB9C-1C96-46FC-87E4-91F4A3CDFC5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67" b="11667"/>
          <a:stretch>
            <a:fillRect/>
          </a:stretch>
        </p:blipFill>
        <p:spPr>
          <a:xfrm>
            <a:off x="326994" y="190945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CEDE10-C5AE-40CE-8DBF-70ED16D76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86</TotalTime>
  <Words>151</Words>
  <Application>Microsoft Office PowerPoint</Application>
  <PresentationFormat>Widescreen</PresentationFormat>
  <Paragraphs>5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Mane, Rohitkumar Limbraj</cp:lastModifiedBy>
  <cp:revision>115</cp:revision>
  <dcterms:created xsi:type="dcterms:W3CDTF">2017-12-08T05:27:40Z</dcterms:created>
  <dcterms:modified xsi:type="dcterms:W3CDTF">2022-04-28T04:3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